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RIYALA, MYNA" initials="MM" lastIdx="1" clrIdx="0">
    <p:extLst>
      <p:ext uri="{19B8F6BF-5375-455C-9EA6-DF929625EA0E}">
        <p15:presenceInfo xmlns:p15="http://schemas.microsoft.com/office/powerpoint/2012/main" userId="S::myna.miriyala@capgemini.com::69eb09ba-f88a-4aff-90b1-6f9cb2ae38b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2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8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0"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myna.miriyala@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MynaMiriyala/Assignments.git" TargetMode="Externa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292844742"/>
              </p:ext>
            </p:extLst>
          </p:nvPr>
        </p:nvGraphicFramePr>
        <p:xfrm>
          <a:off x="9220200" y="1143001"/>
          <a:ext cx="2971800" cy="5254625"/>
        </p:xfrm>
        <a:graphic>
          <a:graphicData uri="http://schemas.openxmlformats.org/drawingml/2006/table">
            <a:tbl>
              <a:tblPr firstRow="1" bandRow="1">
                <a:tableStyleId>{0E3FDE45-AF77-4B5C-9715-49D594BDF05E}</a:tableStyleId>
              </a:tblPr>
              <a:tblGrid>
                <a:gridCol w="743125">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47572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876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990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3166">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69539">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7572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5238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5321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 and</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Basics</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3653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4316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9512774"/>
                  </a:ext>
                </a:extLst>
              </a:tr>
              <a:tr h="439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Add On skills</a:t>
                      </a: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00600" y="2995613"/>
            <a:ext cx="4008437" cy="2185987"/>
          </a:xfrm>
        </p:spPr>
        <p:txBody>
          <a:bodyPr/>
          <a:lstStyle/>
          <a:p>
            <a:pPr eaLnBrk="1" hangingPunct="1">
              <a:lnSpc>
                <a:spcPct val="114000"/>
              </a:lnSpc>
            </a:pPr>
            <a:r>
              <a:rPr lang="en-US" altLang="en-US" b="1" dirty="0"/>
              <a:t>E-Commerce Flight Management system</a:t>
            </a:r>
          </a:p>
          <a:p>
            <a:pPr eaLnBrk="1" hangingPunct="1">
              <a:lnSpc>
                <a:spcPct val="114000"/>
              </a:lnSpc>
            </a:pPr>
            <a:r>
              <a:rPr lang="en-IN" altLang="en-US" dirty="0"/>
              <a:t>Completed end to end Flight management System Application along with Eureka,  Swagger and payment Gateway. Responsive UI with</a:t>
            </a:r>
            <a:r>
              <a:rPr lang="en-US" altLang="en-US" dirty="0"/>
              <a:t> REACT and Bootstrap used for user interface.</a:t>
            </a:r>
            <a:endParaRPr lang="en-US"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Hyderabad</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17747073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resilience 4J,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 React Developer</a:t>
            </a:r>
            <a:r>
              <a:rPr lang="en-US" dirty="0"/>
              <a:t> with </a:t>
            </a:r>
            <a:r>
              <a:rPr lang="en-US" altLang="en-US" sz="1000" dirty="0"/>
              <a:t>working knowledge on </a:t>
            </a:r>
            <a:r>
              <a:rPr lang="en-US" altLang="en-US" sz="1000" b="1" dirty="0"/>
              <a:t>ReactJS</a:t>
            </a:r>
            <a:r>
              <a:rPr lang="en-US" altLang="en-US" sz="1000" dirty="0"/>
              <a:t>(Hooks, redux).</a:t>
            </a:r>
            <a:endParaRPr lang="en-US" dirty="0"/>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framework on an intermediate level.</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p>
          <a:p>
            <a:pPr marL="171450" indent="-171450">
              <a:buFont typeface="Arial" panose="020B0604020202020204" pitchFamily="34" charset="0"/>
              <a:buChar char="•"/>
            </a:pPr>
            <a:r>
              <a:rPr lang="en-US" altLang="nl-NL" sz="1000" dirty="0"/>
              <a:t>Implemented </a:t>
            </a:r>
            <a:r>
              <a:rPr lang="en-US" altLang="nl-NL" sz="1000" b="1" dirty="0"/>
              <a:t>Nodejs</a:t>
            </a:r>
            <a:r>
              <a:rPr lang="en-US" altLang="nl-NL" sz="1000" dirty="0"/>
              <a:t> in case study and upskilling this knowledge continuously.</a:t>
            </a:r>
          </a:p>
          <a:p>
            <a:pPr marL="171450" indent="-171450">
              <a:buFont typeface="Arial" panose="020B0604020202020204" pitchFamily="34" charset="0"/>
              <a:buChar char="•"/>
            </a:pPr>
            <a:r>
              <a:rPr lang="en-US" altLang="nl-NL" sz="1000" dirty="0"/>
              <a:t>Experienced in practicing </a:t>
            </a:r>
            <a:r>
              <a:rPr lang="en-US" altLang="nl-NL" sz="1000" b="1" dirty="0"/>
              <a:t>TDD based development </a:t>
            </a:r>
            <a:r>
              <a:rPr lang="en-US" altLang="nl-NL" sz="1000" dirty="0"/>
              <a:t>using tools like </a:t>
            </a:r>
            <a:r>
              <a:rPr lang="en-US" altLang="nl-NL" sz="1000" b="1" dirty="0"/>
              <a:t>Mockito, Junit, Istanbul </a:t>
            </a:r>
            <a:r>
              <a:rPr lang="en-US" altLang="nl-NL" sz="1000" dirty="0"/>
              <a:t>and ensuring quality</a:t>
            </a:r>
            <a:endParaRPr lang="en-US" altLang="nl-NL" sz="800"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KALLURI.VANITH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73539" y="633174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descr="A person wearing a pink shirt&#10;&#10;Description automatically generated with low confidence">
            <a:extLst>
              <a:ext uri="{FF2B5EF4-FFF2-40B4-BE49-F238E27FC236}">
                <a16:creationId xmlns:a16="http://schemas.microsoft.com/office/drawing/2014/main" id="{8A6E2E1C-A6E0-48C7-868E-46B886A72D10}"/>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14198" b="14198"/>
          <a:stretch>
            <a:fillRect/>
          </a:stretch>
        </p:blipFill>
        <p:spPr>
          <a:xfrm>
            <a:off x="250617" y="327907"/>
            <a:ext cx="1734208" cy="173562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49</TotalTime>
  <Words>362</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Vanitha, Kalluri</cp:lastModifiedBy>
  <cp:revision>104</cp:revision>
  <dcterms:created xsi:type="dcterms:W3CDTF">2020-09-22T06:24:34Z</dcterms:created>
  <dcterms:modified xsi:type="dcterms:W3CDTF">2023-01-05T08:0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